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5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7"/>
  </p:notesMasterIdLst>
  <p:sldIdLst>
    <p:sldId id="327" r:id="rId5"/>
    <p:sldId id="2147375523" r:id="rId6"/>
    <p:sldId id="2147375738" r:id="rId7"/>
    <p:sldId id="2147375744" r:id="rId8"/>
    <p:sldId id="2147375745" r:id="rId9"/>
    <p:sldId id="2147375748" r:id="rId10"/>
    <p:sldId id="2147375737" r:id="rId11"/>
    <p:sldId id="2147375752" r:id="rId12"/>
    <p:sldId id="3846" r:id="rId13"/>
    <p:sldId id="2147375513" r:id="rId14"/>
    <p:sldId id="2147375739" r:id="rId15"/>
    <p:sldId id="2147375897" r:id="rId16"/>
  </p:sldIdLst>
  <p:sldSz cx="12192000" cy="6858000"/>
  <p:notesSz cx="6858000" cy="9144000"/>
  <p:custDataLst>
    <p:tags r:id="rId18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327"/>
            <p14:sldId id="2147375523"/>
            <p14:sldId id="2147375738"/>
            <p14:sldId id="2147375744"/>
            <p14:sldId id="2147375745"/>
            <p14:sldId id="2147375748"/>
            <p14:sldId id="2147375737"/>
            <p14:sldId id="2147375752"/>
            <p14:sldId id="3846"/>
            <p14:sldId id="2147375513"/>
            <p14:sldId id="2147375739"/>
            <p14:sldId id="2147375897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3C7A1"/>
    <a:srgbClr val="FF0000"/>
    <a:srgbClr val="7197FF"/>
    <a:srgbClr val="C30B3E"/>
    <a:srgbClr val="AAC1FF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194"/>
    <p:restoredTop sz="94658"/>
  </p:normalViewPr>
  <p:slideViewPr>
    <p:cSldViewPr snapToGrid="0" showGuides="1">
      <p:cViewPr varScale="1">
        <p:scale>
          <a:sx n="116" d="100"/>
          <a:sy n="116" d="100"/>
        </p:scale>
        <p:origin x="44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9/12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A4541B-BFDB-4404-AA33-DFF9F9C5D28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4138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5323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  <a:endParaRPr lang="en-US" dirty="0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9. 1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9. 1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BE883C-43DD-1E40-95C5-F9A1E7F652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2855" y="571186"/>
            <a:ext cx="9161789" cy="961400"/>
          </a:xfrm>
        </p:spPr>
        <p:txBody>
          <a:bodyPr>
            <a:normAutofit/>
          </a:bodyPr>
          <a:lstStyle>
            <a:lvl1pPr>
              <a:defRPr sz="3000" b="1" i="0">
                <a:solidFill>
                  <a:schemeClr val="tx2"/>
                </a:solidFill>
                <a:latin typeface="Lato Semibold" panose="020F0502020204030203" pitchFamily="34" charset="77"/>
              </a:defRPr>
            </a:lvl1pPr>
          </a:lstStyle>
          <a:p>
            <a:r>
              <a:rPr lang="de-DE"/>
              <a:t>Mastertitelformat bearbeiten</a:t>
            </a:r>
            <a:br>
              <a:rPr lang="de-DE"/>
            </a:br>
            <a:r>
              <a:rPr lang="de-DE" err="1"/>
              <a:t>shdkasdjhhqka</a:t>
            </a:r>
            <a:endParaRPr lang="de-DE"/>
          </a:p>
        </p:txBody>
      </p:sp>
      <p:sp>
        <p:nvSpPr>
          <p:cNvPr id="16" name="Foliennummernplatzhalter 4">
            <a:extLst>
              <a:ext uri="{FF2B5EF4-FFF2-40B4-BE49-F238E27FC236}">
                <a16:creationId xmlns:a16="http://schemas.microsoft.com/office/drawing/2014/main" id="{226D5932-7487-674A-88E2-A31F92941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6860" y="6315710"/>
            <a:ext cx="470468" cy="365125"/>
          </a:xfrm>
        </p:spPr>
        <p:txBody>
          <a:bodyPr/>
          <a:lstStyle>
            <a:lvl1pPr algn="l">
              <a:defRPr sz="800">
                <a:solidFill>
                  <a:schemeClr val="bg2"/>
                </a:solidFill>
                <a:latin typeface="Lato" panose="020F0502020204030203" pitchFamily="34" charset="77"/>
              </a:defRPr>
            </a:lvl1pPr>
          </a:lstStyle>
          <a:p>
            <a:fld id="{F1CB2916-F678-8246-9302-9E5EDFC915A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C571F50-2C61-D948-992A-6275F5572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044" y="601725"/>
            <a:ext cx="916382" cy="18866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446BF5E-EFE5-C74C-9B39-3555F9DD7D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39" t="32298"/>
          <a:stretch/>
        </p:blipFill>
        <p:spPr>
          <a:xfrm flipH="1">
            <a:off x="9914955" y="-3813"/>
            <a:ext cx="2277044" cy="669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042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06" imgH="403" progId="TCLayout.ActiveDocument.1">
                  <p:embed/>
                </p:oleObj>
              </mc:Choice>
              <mc:Fallback>
                <p:oleObj name="think-cell Slide" r:id="rId25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09. 1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  <p:sldLayoutId id="2147483676" r:id="rId2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16" Type="http://schemas.openxmlformats.org/officeDocument/2006/relationships/tags" Target="../tags/tag26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5" Type="http://schemas.openxmlformats.org/officeDocument/2006/relationships/tags" Target="../tags/tag15.xml"/><Relationship Id="rId61" Type="http://schemas.openxmlformats.org/officeDocument/2006/relationships/tags" Target="../tags/tag71.xml"/><Relationship Id="rId82" Type="http://schemas.openxmlformats.org/officeDocument/2006/relationships/oleObject" Target="../embeddings/oleObject10.bin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56" Type="http://schemas.openxmlformats.org/officeDocument/2006/relationships/tags" Target="../tags/tag66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77" Type="http://schemas.openxmlformats.org/officeDocument/2006/relationships/tags" Target="../tags/tag87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80" Type="http://schemas.openxmlformats.org/officeDocument/2006/relationships/slideLayout" Target="../slideLayouts/slideLayout3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59" Type="http://schemas.openxmlformats.org/officeDocument/2006/relationships/tags" Target="../tags/tag69.xml"/><Relationship Id="rId67" Type="http://schemas.openxmlformats.org/officeDocument/2006/relationships/tags" Target="../tags/tag7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54" Type="http://schemas.openxmlformats.org/officeDocument/2006/relationships/tags" Target="../tags/tag64.xml"/><Relationship Id="rId62" Type="http://schemas.openxmlformats.org/officeDocument/2006/relationships/tags" Target="../tags/tag72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83" Type="http://schemas.openxmlformats.org/officeDocument/2006/relationships/image" Target="../media/image27.emf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notesSlide" Target="../notesSlides/notesSlide5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0.xml"/><Relationship Id="rId4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6.xml"/><Relationship Id="rId7" Type="http://schemas.openxmlformats.org/officeDocument/2006/relationships/hyperlink" Target="http://www.hypatos.ai/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1.xml"/><Relationship Id="rId6" Type="http://schemas.openxmlformats.org/officeDocument/2006/relationships/hyperlink" Target="mailto:yavuz.guney@hypatos.ai" TargetMode="External"/><Relationship Id="rId5" Type="http://schemas.openxmlformats.org/officeDocument/2006/relationships/image" Target="../media/image12.emf"/><Relationship Id="rId10" Type="http://schemas.openxmlformats.org/officeDocument/2006/relationships/hyperlink" Target="mailto:melinda.braun@hypatos.ai" TargetMode="External"/><Relationship Id="rId4" Type="http://schemas.openxmlformats.org/officeDocument/2006/relationships/oleObject" Target="../embeddings/oleObject12.bin"/><Relationship Id="rId9" Type="http://schemas.openxmlformats.org/officeDocument/2006/relationships/hyperlink" Target="mailto:elena.kuhn@hypatos.ai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studio-docs.hypatos.ai/integrations/sap-integration" TargetMode="External"/><Relationship Id="rId13" Type="http://schemas.openxmlformats.org/officeDocument/2006/relationships/image" Target="../media/image23.png"/><Relationship Id="rId3" Type="http://schemas.openxmlformats.org/officeDocument/2006/relationships/image" Target="../media/image6.emf"/><Relationship Id="rId7" Type="http://schemas.openxmlformats.org/officeDocument/2006/relationships/hyperlink" Target="https://hypatos.redoc.ly/#section/Introduction" TargetMode="External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studio-docs.hypatos.ai/user-guide/document-upload/email-service" TargetMode="External"/><Relationship Id="rId11" Type="http://schemas.openxmlformats.org/officeDocument/2006/relationships/image" Target="../media/image21.svg"/><Relationship Id="rId5" Type="http://schemas.openxmlformats.org/officeDocument/2006/relationships/image" Target="../media/image18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image" Target="../media/image17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942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9" name="Picture 8" descr="A logo of a company&#10;&#10;Description automatically generated">
            <a:extLst>
              <a:ext uri="{FF2B5EF4-FFF2-40B4-BE49-F238E27FC236}">
                <a16:creationId xmlns:a16="http://schemas.microsoft.com/office/drawing/2014/main" id="{CF5D937A-9FEB-118B-43F9-4435A74C0C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35570" y="214941"/>
            <a:ext cx="73660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595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3" name="Object 242" hidden="1">
            <a:extLst>
              <a:ext uri="{FF2B5EF4-FFF2-40B4-BE49-F238E27FC236}">
                <a16:creationId xmlns:a16="http://schemas.microsoft.com/office/drawing/2014/main" id="{5596CA3F-D131-FFA1-C02F-8FA1E29B18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410" imgH="409" progId="TCLayout.ActiveDocument.1">
                  <p:embed/>
                </p:oleObj>
              </mc:Choice>
              <mc:Fallback>
                <p:oleObj name="think-cell Slide" r:id="rId82" imgW="410" imgH="409" progId="TCLayout.ActiveDocument.1">
                  <p:embed/>
                  <p:pic>
                    <p:nvPicPr>
                      <p:cNvPr id="243" name="Object 242" hidden="1">
                        <a:extLst>
                          <a:ext uri="{FF2B5EF4-FFF2-40B4-BE49-F238E27FC236}">
                            <a16:creationId xmlns:a16="http://schemas.microsoft.com/office/drawing/2014/main" id="{5596CA3F-D131-FFA1-C02F-8FA1E29B1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>
            <a:extLst>
              <a:ext uri="{FF2B5EF4-FFF2-40B4-BE49-F238E27FC236}">
                <a16:creationId xmlns:a16="http://schemas.microsoft.com/office/drawing/2014/main" id="{DEC825AE-CA31-0A87-DFC2-59E1DE956232}"/>
              </a:ext>
            </a:extLst>
          </p:cNvPr>
          <p:cNvSpPr/>
          <p:nvPr/>
        </p:nvSpPr>
        <p:spPr>
          <a:xfrm>
            <a:off x="311943" y="6276652"/>
            <a:ext cx="1303338" cy="4619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ím 1">
            <a:extLst>
              <a:ext uri="{FF2B5EF4-FFF2-40B4-BE49-F238E27FC236}">
                <a16:creationId xmlns:a16="http://schemas.microsoft.com/office/drawing/2014/main" id="{357EAC47-4212-6520-05F3-B3E600C73D0C}"/>
              </a:ext>
            </a:extLst>
          </p:cNvPr>
          <p:cNvSpPr txBox="1">
            <a:spLocks/>
          </p:cNvSpPr>
          <p:nvPr/>
        </p:nvSpPr>
        <p:spPr>
          <a:xfrm>
            <a:off x="407988" y="192337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j-ea"/>
                <a:cs typeface="+mj-cs"/>
              </a:rPr>
              <a:t>Pilot High Level Project Plan</a:t>
            </a:r>
          </a:p>
        </p:txBody>
      </p:sp>
      <p:sp>
        <p:nvSpPr>
          <p:cNvPr id="262" name="Textplatzhalter 2">
            <a:extLst>
              <a:ext uri="{FF2B5EF4-FFF2-40B4-BE49-F238E27FC236}">
                <a16:creationId xmlns:a16="http://schemas.microsoft.com/office/drawing/2014/main" id="{89C2D09B-B3BE-5694-5149-BB8831F2319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805238" y="1470025"/>
            <a:ext cx="5451475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156718E-E283-4B27-A7BC-989EF68B9903}" type="datetime'''''''''''''''''''''''''''20''''''''''''2''''''4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4</a:t>
            </a:fld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F759CACB-F50E-425B-A26A-1F99DCC958B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805238" y="1641475"/>
            <a:ext cx="919163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488092D-C707-4F38-956C-0DF4685ACB5F}" type="datetime'''J''''''''''''u''l''''''''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l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52DB93FA-A458-F6C8-E18A-32E25875AC3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724400" y="1641475"/>
            <a:ext cx="917575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75F1E5F-AD75-4A44-A8C4-96BFA6ABD32F}" type="datetime'''''''''''A''''''''''ug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ug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56F14717-3CEE-4D83-1425-E0BA38E2F64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641974" y="1641475"/>
            <a:ext cx="889000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6BF63BE-7AD7-4F9C-989D-06155F598857}" type="datetime'S''''''''''''''''''''''''''e''''''''''''''p''''''''''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Sep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61AEE27-7252-2718-F531-1E07CB4052C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530975" y="1641475"/>
            <a:ext cx="919163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0D5BB6-6F7A-4C06-AFD0-FB4D317D257C}" type="datetime'O''''c''''''''''''''t''''''''''''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Oct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95AE9937-F2DD-2A0B-1E8D-8508CEBD6BA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50138" y="1641475"/>
            <a:ext cx="887413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FD1C3B5-0F9D-41F3-B8A1-E12F4C166956}" type="datetime'''''''N''''''''''''''''''''''o''''''''v''''''''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Nov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D28017BD-AFC2-11D8-42BF-FCE0C253D1F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37550" y="1641475"/>
            <a:ext cx="919163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0329D1A-9CAE-4B3D-8CA3-CCB96EADCF35}" type="datetime'''''''''''''''''''''''''''''D''e''''''''''''''''c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ec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72D2352-924B-52D3-AF7A-B7EC3247215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805238" y="1812926"/>
            <a:ext cx="0" cy="3851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37EA0CA5-5421-40B7-D307-FF02CD8A73B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256713" y="1812926"/>
            <a:ext cx="0" cy="3851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F631C9-3E6A-66A7-8EA6-A396AFB1B0E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641975" y="1812925"/>
            <a:ext cx="0" cy="3851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00A0F75-28C2-94F6-E8E8-77DBFB15A5B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450138" y="1812926"/>
            <a:ext cx="0" cy="3851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4F11F9A-87E0-362C-C3C5-E904F096AD3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1480800" y="1812926"/>
            <a:ext cx="0" cy="3851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3A45C84-0ACC-7DBA-3091-5DF65478734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377950" y="1812926"/>
            <a:ext cx="0" cy="3851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91700B9-D027-6C26-A580-930E559DEAE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530975" y="1812926"/>
            <a:ext cx="0" cy="3851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3A09031-61FB-9489-3882-46361471922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337550" y="1812926"/>
            <a:ext cx="0" cy="3851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B7D5624E-2739-AE45-B568-FB59E10D087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377950" y="2516188"/>
            <a:ext cx="10102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8854A52-175D-71B6-7B36-0753AADE7077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377950" y="5664200"/>
            <a:ext cx="101028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3F62DA5-31F9-E9F0-65D1-D067AFE3781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256213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5DB9D6-E1B5-C351-26FD-E2FE597225A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256213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6FD0E7F2-2607-E50F-D9AD-C4C55113D99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583238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8E2BB36-0A3A-A229-88D3-588A1C8C06D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4724400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815306BE-7CB6-79CA-0E6A-B41825A059D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782050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C944185-C588-7E6F-7F79-9D294D051D26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434013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0ED0ED5-9CEE-FEE1-6A0C-EEB9EBBD00B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377950" y="1812925"/>
            <a:ext cx="101028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FEE55E3-9D49-565D-2948-2C839BC3CC99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789613" y="3681413"/>
            <a:ext cx="1216025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623F5D0-C5F6-46E7-2E66-80081D781522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102100" y="2725738"/>
            <a:ext cx="1687513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E2420989-3205-A857-BE5E-AF8A9CA30EDA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789613" y="3263900"/>
            <a:ext cx="1216025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90555FB-20FA-76B9-FA33-BE70BD961B3A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6916738" y="4919663"/>
            <a:ext cx="2281238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64EC3AE-D00D-E034-DBC4-AD97E2C956D8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5286375" y="4502150"/>
            <a:ext cx="1630363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49A7A14-4517-1B79-047E-2449720D49F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086475" y="4084638"/>
            <a:ext cx="919163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7" name="Arrow: Right 296">
            <a:extLst>
              <a:ext uri="{FF2B5EF4-FFF2-40B4-BE49-F238E27FC236}">
                <a16:creationId xmlns:a16="http://schemas.microsoft.com/office/drawing/2014/main" id="{407A5D74-1753-BE25-690B-1A14265CC1B1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102099" y="1973263"/>
            <a:ext cx="5270500" cy="1968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3F3FE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566FE5F1-0266-2072-6395-343BAF6D9052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916738" y="5338763"/>
            <a:ext cx="2281238" cy="98425"/>
          </a:xfrm>
          <a:prstGeom prst="rect">
            <a:avLst/>
          </a:prstGeom>
          <a:solidFill>
            <a:srgbClr val="3F3FE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Isosceles Triangle 108">
            <a:extLst>
              <a:ext uri="{FF2B5EF4-FFF2-40B4-BE49-F238E27FC236}">
                <a16:creationId xmlns:a16="http://schemas.microsoft.com/office/drawing/2014/main" id="{CD809C4A-1FFD-DC87-42A4-9B8D5005E282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8724900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riangle 73">
            <a:extLst>
              <a:ext uri="{FF2B5EF4-FFF2-40B4-BE49-F238E27FC236}">
                <a16:creationId xmlns:a16="http://schemas.microsoft.com/office/drawing/2014/main" id="{0941E879-7FB0-EA0F-B663-EE7FABF8753B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5526088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riangle 53">
            <a:extLst>
              <a:ext uri="{FF2B5EF4-FFF2-40B4-BE49-F238E27FC236}">
                <a16:creationId xmlns:a16="http://schemas.microsoft.com/office/drawing/2014/main" id="{5D76FB29-052E-0303-25B6-0074EF10D18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5376863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BFF9F6DA-CBC1-99B4-E64F-67C8243783B4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5199063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A824CF21-7019-BC3A-0C78-C116CDCFD103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5199063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672CD2CF-89C5-FFED-CDD0-C1B304936C69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4667250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Diamond 114">
            <a:extLst>
              <a:ext uri="{FF2B5EF4-FFF2-40B4-BE49-F238E27FC236}">
                <a16:creationId xmlns:a16="http://schemas.microsoft.com/office/drawing/2014/main" id="{0608E56A-0C90-0B8D-BE0F-A598AA452050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5732463" y="2717800"/>
            <a:ext cx="114300" cy="114300"/>
          </a:xfrm>
          <a:prstGeom prst="diamond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Diamond 89">
            <a:extLst>
              <a:ext uri="{FF2B5EF4-FFF2-40B4-BE49-F238E27FC236}">
                <a16:creationId xmlns:a16="http://schemas.microsoft.com/office/drawing/2014/main" id="{F141271F-505C-E29D-0FCB-B5C8BC72083F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6859588" y="4494213"/>
            <a:ext cx="114300" cy="114300"/>
          </a:xfrm>
          <a:prstGeom prst="diamond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A1142B80-57CE-E91B-CA58-78721BF264CC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 flipH="1" flipV="1">
            <a:off x="5583238" y="5907088"/>
            <a:ext cx="735013" cy="46037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BF8EA6D-4E44-EE89-B6EA-4DEC05C57AC3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gray">
          <a:xfrm flipV="1">
            <a:off x="4316413" y="5907088"/>
            <a:ext cx="407988" cy="46037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F8AF8A7-98A8-0B04-957A-923B822D44C3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 flipV="1">
            <a:off x="4679950" y="5907087"/>
            <a:ext cx="576263" cy="4603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8746B78A-1FE8-3294-C5A3-1AA3057F4F19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 bwMode="gray">
          <a:xfrm flipV="1">
            <a:off x="4995863" y="5907087"/>
            <a:ext cx="260350" cy="4603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4F9BECA-7CD6-7789-A1B9-4697DE442AEC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 flipH="1" flipV="1">
            <a:off x="5434013" y="5907088"/>
            <a:ext cx="166688" cy="46037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2EC03F44-B966-665F-EBBC-570E70DCB3B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428750" y="4075113"/>
            <a:ext cx="232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de-DE" altLang="en-US" sz="1000">
                <a:solidFill>
                  <a:srgbClr val="000000"/>
                </a:solidFill>
                <a:latin typeface="Open Sauce One" panose="020B0604020202020204" charset="0"/>
              </a:rPr>
              <a:t>System </a:t>
            </a:r>
            <a:r>
              <a:rPr lang="de-DE" altLang="en-US" sz="1000" err="1">
                <a:solidFill>
                  <a:srgbClr val="000000"/>
                </a:solidFill>
                <a:latin typeface="Open Sauce One" panose="020B0604020202020204" charset="0"/>
              </a:rPr>
              <a:t>integration</a:t>
            </a:r>
            <a:r>
              <a:rPr lang="de-DE" altLang="en-US" sz="1000">
                <a:solidFill>
                  <a:srgbClr val="000000"/>
                </a:solidFill>
                <a:latin typeface="Open Sauce One" panose="020B0604020202020204" charset="0"/>
              </a:rPr>
              <a:t> &amp; </a:t>
            </a:r>
            <a:r>
              <a:rPr lang="de-DE" altLang="en-US" sz="1000" err="1">
                <a:solidFill>
                  <a:srgbClr val="000000"/>
                </a:solidFill>
                <a:latin typeface="Open Sauce One" panose="020B0604020202020204" charset="0"/>
              </a:rPr>
              <a:t>technical</a:t>
            </a:r>
            <a:r>
              <a:rPr lang="de-DE" altLang="en-US" sz="1000">
                <a:solidFill>
                  <a:srgbClr val="000000"/>
                </a:solidFill>
                <a:latin typeface="Open Sauce One" panose="020B0604020202020204" charset="0"/>
              </a:rPr>
              <a:t> in </a:t>
            </a:r>
            <a:r>
              <a:rPr lang="de-DE" altLang="en-US" sz="1000" err="1">
                <a:solidFill>
                  <a:srgbClr val="000000"/>
                </a:solidFill>
                <a:latin typeface="Open Sauce One" panose="020B0604020202020204" charset="0"/>
              </a:rPr>
              <a:t>test</a:t>
            </a:r>
            <a:r>
              <a:rPr lang="de-DE" altLang="en-US" sz="1000">
                <a:solidFill>
                  <a:srgbClr val="000000"/>
                </a:solidFill>
                <a:latin typeface="Open Sauce One" panose="020B0604020202020204" charset="0"/>
              </a:rPr>
              <a:t> </a:t>
            </a:r>
            <a:r>
              <a:rPr lang="de-DE" altLang="en-US" sz="1000" err="1">
                <a:solidFill>
                  <a:srgbClr val="000000"/>
                </a:solidFill>
                <a:latin typeface="Open Sauce One" panose="020B0604020202020204" charset="0"/>
              </a:rPr>
              <a:t>system</a:t>
            </a:r>
            <a:endParaRPr kumimoji="0" lang="de-DE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0BA9EF2B-78D6-85EB-2710-7F4ADBD118C2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423400" y="4075113"/>
            <a:ext cx="136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000">
                <a:solidFill>
                  <a:srgbClr val="000000"/>
                </a:solidFill>
                <a:latin typeface="Open Sauce One" panose="020B0604020202020204" charset="0"/>
              </a:rPr>
              <a:t>Hy</a:t>
            </a:r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81" name="Szöveg helye 2">
            <a:extLst>
              <a:ext uri="{FF2B5EF4-FFF2-40B4-BE49-F238E27FC236}">
                <a16:creationId xmlns:a16="http://schemas.microsoft.com/office/drawing/2014/main" id="{4EBEF52D-A1A2-ED6F-61E1-4B8423F8C70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0317163" y="4075113"/>
            <a:ext cx="93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IT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67" name="Szöveg helye 2">
            <a:extLst>
              <a:ext uri="{FF2B5EF4-FFF2-40B4-BE49-F238E27FC236}">
                <a16:creationId xmlns:a16="http://schemas.microsoft.com/office/drawing/2014/main" id="{5459C1A0-1723-DC79-5491-CE9689AB393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317163" y="2716213"/>
            <a:ext cx="928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PMO + Tax &amp; SME</a:t>
            </a:r>
            <a:endParaRPr lang="en-US" sz="1000">
              <a:sym typeface="Lato" panose="020F0502020204030203" pitchFamily="34" charset="0"/>
            </a:endParaRPr>
          </a:p>
        </p:txBody>
      </p:sp>
      <p:sp useBgFill="1">
        <p:nvSpPr>
          <p:cNvPr id="88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015163" y="4445000"/>
            <a:ext cx="8143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  <a:sym typeface="Lato" panose="020F0502020204030203" pitchFamily="34" charset="0"/>
              </a:rPr>
              <a:t>Go-live decision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B3208C5-0A57-83F5-7860-A6B780F8975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423400" y="2716213"/>
            <a:ext cx="81438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altLang="en-US" sz="1000">
                <a:solidFill>
                  <a:srgbClr val="000000"/>
                </a:solidFill>
                <a:latin typeface="Open Sauce One"/>
                <a:sym typeface="Lato" panose="020F0502020204030203" pitchFamily="34" charset="0"/>
              </a:rPr>
              <a:t>KWS/PWC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/>
                <a:sym typeface="Lato" panose="020F0502020204030203" pitchFamily="34" charset="0"/>
              </a:rPr>
              <a:t> &amp; Hy</a:t>
            </a:r>
            <a:endParaRPr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208" name="Textplatzhalter 2">
            <a:extLst>
              <a:ext uri="{FF2B5EF4-FFF2-40B4-BE49-F238E27FC236}">
                <a16:creationId xmlns:a16="http://schemas.microsoft.com/office/drawing/2014/main" id="{DE9FA26C-5204-8A44-7FC4-5F78DC21C0E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428750" y="4492625"/>
            <a:ext cx="1131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000">
                <a:solidFill>
                  <a:srgbClr val="000000"/>
                </a:solidFill>
                <a:latin typeface="Open Sauce One" panose="020B0604020202020204" charset="0"/>
                <a:sym typeface="Lato" panose="020F0502020204030203" pitchFamily="34" charset="0"/>
              </a:rPr>
              <a:t>U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ser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training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</a:t>
            </a:r>
            <a:r>
              <a:rPr kumimoji="0" lang="de-DE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and UAT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8CFDEFD-E84A-95FF-2377-DA1E233A6A5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9423400" y="4492625"/>
            <a:ext cx="8143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000">
                <a:solidFill>
                  <a:srgbClr val="000000"/>
                </a:solidFill>
                <a:latin typeface="Open Sauce One"/>
                <a:sym typeface="Lato" panose="020F0502020204030203" pitchFamily="34" charset="0"/>
              </a:rPr>
              <a:t>KWS/PWC 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/>
                <a:sym typeface="Lato" panose="020F0502020204030203" pitchFamily="34" charset="0"/>
              </a:rPr>
              <a:t>&amp; Hy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/>
              <a:sym typeface="Lato" panose="020F0502020204030203" pitchFamily="34" charset="0"/>
            </a:endParaRPr>
          </a:p>
        </p:txBody>
      </p:sp>
      <p:sp>
        <p:nvSpPr>
          <p:cNvPr id="93" name="Szöveg helye 2">
            <a:extLst>
              <a:ext uri="{FF2B5EF4-FFF2-40B4-BE49-F238E27FC236}">
                <a16:creationId xmlns:a16="http://schemas.microsoft.com/office/drawing/2014/main" id="{7E7FC530-76CD-F801-15DB-AA349E1B86A3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317163" y="4492625"/>
            <a:ext cx="681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Business &amp; IT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201" name="Textplatzhalter 2">
            <a:extLst>
              <a:ext uri="{FF2B5EF4-FFF2-40B4-BE49-F238E27FC236}">
                <a16:creationId xmlns:a16="http://schemas.microsoft.com/office/drawing/2014/main" id="{6E973AB7-C047-C52D-0FE6-0190C47FC6D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428751" y="2716213"/>
            <a:ext cx="170656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Solution,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integration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design, SAP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connector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installation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6B8C28DF-8DBC-A412-13A2-481D407956D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428750" y="4910138"/>
            <a:ext cx="13795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Productive</a:t>
            </a:r>
            <a:r>
              <a:rPr kumimoji="0" lang="de-DE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 </a:t>
            </a:r>
            <a:r>
              <a:rPr kumimoji="0" lang="de-DE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pilot</a:t>
            </a:r>
            <a:r>
              <a:rPr kumimoji="0" lang="de-DE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 </a:t>
            </a:r>
            <a:r>
              <a:rPr kumimoji="0" lang="de-DE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test</a:t>
            </a:r>
            <a:r>
              <a:rPr kumimoji="0" lang="de-DE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 </a:t>
            </a:r>
            <a:r>
              <a:rPr kumimoji="0" lang="de-DE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phase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6BB09EEC-3F0C-DE94-B84B-F5B0E966D0F5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423400" y="4910138"/>
            <a:ext cx="8429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000">
                <a:solidFill>
                  <a:srgbClr val="000000"/>
                </a:solidFill>
                <a:latin typeface="Open Sauce One"/>
                <a:sym typeface="Lato" panose="020F0502020204030203" pitchFamily="34" charset="0"/>
              </a:rPr>
              <a:t>KWS/PWC  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/>
                <a:sym typeface="Lato" panose="020F0502020204030203" pitchFamily="34" charset="0"/>
              </a:rPr>
              <a:t>&amp; Hy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/>
              <a:sym typeface="Lato" panose="020F0502020204030203" pitchFamily="34" charset="0"/>
            </a:endParaRPr>
          </a:p>
        </p:txBody>
      </p:sp>
      <p:sp>
        <p:nvSpPr>
          <p:cNvPr id="98" name="Szöveg helye 2">
            <a:extLst>
              <a:ext uri="{FF2B5EF4-FFF2-40B4-BE49-F238E27FC236}">
                <a16:creationId xmlns:a16="http://schemas.microsoft.com/office/drawing/2014/main" id="{31001F60-1412-82A4-FF69-300488AA43A7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317164" y="4910138"/>
            <a:ext cx="257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PMO</a:t>
            </a:r>
            <a:endParaRPr lang="en-US" sz="1000">
              <a:sym typeface="Lato" panose="020F0502020204030203" pitchFamily="34" charset="0"/>
            </a:endParaRPr>
          </a:p>
        </p:txBody>
      </p:sp>
      <p:sp useBgFill="1">
        <p:nvSpPr>
          <p:cNvPr id="11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888038" y="2668588"/>
            <a:ext cx="1560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</a:rPr>
              <a:t>Pilot solution design approved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214" name="Textplatzhalter 2">
            <a:extLst>
              <a:ext uri="{FF2B5EF4-FFF2-40B4-BE49-F238E27FC236}">
                <a16:creationId xmlns:a16="http://schemas.microsoft.com/office/drawing/2014/main" id="{4BEBD6A8-CD9E-325F-8CAD-0F0223C21BB2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428750" y="5329238"/>
            <a:ext cx="533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Hypercare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375DA5D-848C-6B56-9C18-D7385BED3E1C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423400" y="5329238"/>
            <a:ext cx="136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Hy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217" name="Textplatzhalter 2">
            <a:extLst>
              <a:ext uri="{FF2B5EF4-FFF2-40B4-BE49-F238E27FC236}">
                <a16:creationId xmlns:a16="http://schemas.microsoft.com/office/drawing/2014/main" id="{40DC6B47-C99A-9E9E-B685-7A1B2E2FCBC3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428751" y="1658938"/>
            <a:ext cx="4873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alt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/>
              </a:rPr>
              <a:t>Activities</a:t>
            </a:r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/>
            </a:endParaRPr>
          </a:p>
        </p:txBody>
      </p:sp>
      <p:sp>
        <p:nvSpPr>
          <p:cNvPr id="218" name="Textplatzhalter 2">
            <a:extLst>
              <a:ext uri="{FF2B5EF4-FFF2-40B4-BE49-F238E27FC236}">
                <a16:creationId xmlns:a16="http://schemas.microsoft.com/office/drawing/2014/main" id="{7F4BB805-0FFF-8E90-BEF1-4A721456FBE7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423400" y="1658938"/>
            <a:ext cx="636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F45DB8A-CB9B-4345-AC3B-CA9E219F8A33}" type="datetime'R''''e''s''''''''''p''''o''''''''''''ns''''''i''''b''''''le'">
              <a:rPr kumimoji="0" lang="en-GB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esponsible</a:t>
            </a:fld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317163" y="1582738"/>
            <a:ext cx="1112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>
                <a:effectLst/>
                <a:latin typeface="Open Sauce One"/>
                <a:sym typeface="Lato" panose="020F0502020204030203" pitchFamily="34" charset="0"/>
              </a:rPr>
              <a:t>Resources </a:t>
            </a:r>
            <a:r>
              <a:rPr lang="en-US" altLang="en-US" sz="1000" b="1">
                <a:latin typeface="Open Sauce One"/>
                <a:sym typeface="Lato" panose="020F0502020204030203" pitchFamily="34" charset="0"/>
              </a:rPr>
              <a:t>KWS/PWC</a:t>
            </a:r>
            <a:endParaRPr lang="en-US" sz="1000" b="1">
              <a:sym typeface="Lato" panose="020F0502020204030203" pitchFamily="34" charset="0"/>
            </a:endParaRPr>
          </a:p>
        </p:txBody>
      </p:sp>
      <p:sp>
        <p:nvSpPr>
          <p:cNvPr id="52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0317164" y="2012950"/>
            <a:ext cx="7096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  <a:sym typeface="Lato" panose="020F0502020204030203" pitchFamily="34" charset="0"/>
              </a:rPr>
              <a:t>Business &amp; IT </a:t>
            </a:r>
            <a:br>
              <a:rPr lang="en-US" altLang="en-US" sz="1000">
                <a:effectLst/>
                <a:sym typeface="Lato" panose="020F0502020204030203" pitchFamily="34" charset="0"/>
              </a:rPr>
            </a:b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224" name="Textplatzhalter 2">
            <a:extLst>
              <a:ext uri="{FF2B5EF4-FFF2-40B4-BE49-F238E27FC236}">
                <a16:creationId xmlns:a16="http://schemas.microsoft.com/office/drawing/2014/main" id="{AA214B3C-2937-0C4B-EFFF-5D6C3C421683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423400" y="2012950"/>
            <a:ext cx="8143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000">
                <a:solidFill>
                  <a:srgbClr val="000000"/>
                </a:solidFill>
                <a:latin typeface="Open Sauce One"/>
                <a:sym typeface="Lato" panose="020F0502020204030203" pitchFamily="34" charset="0"/>
              </a:rPr>
              <a:t>KWS/PWC 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/>
                <a:sym typeface="Lato" panose="020F0502020204030203" pitchFamily="34" charset="0"/>
              </a:rPr>
              <a:t>&amp; Hy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/>
              <a:sym typeface="Lato" panose="020F0502020204030203" pitchFamily="34" charset="0"/>
            </a:endParaRPr>
          </a:p>
        </p:txBody>
      </p:sp>
      <p:sp>
        <p:nvSpPr>
          <p:cNvPr id="223" name="Textplatzhalter 2">
            <a:extLst>
              <a:ext uri="{FF2B5EF4-FFF2-40B4-BE49-F238E27FC236}">
                <a16:creationId xmlns:a16="http://schemas.microsoft.com/office/drawing/2014/main" id="{764DA877-6048-397C-ED97-F5E1FBD16C94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428750" y="2012950"/>
            <a:ext cx="10890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Project Management</a:t>
            </a:r>
            <a:endParaRPr kumimoji="0" lang="en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104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8347075" y="5953125"/>
            <a:ext cx="869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Roll-out Decision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206" name="Textplatzhalter 2">
            <a:extLst>
              <a:ext uri="{FF2B5EF4-FFF2-40B4-BE49-F238E27FC236}">
                <a16:creationId xmlns:a16="http://schemas.microsoft.com/office/drawing/2014/main" id="{BF94233F-569A-4832-C21B-345B5B6A5644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428750" y="3254375"/>
            <a:ext cx="1889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Prompt design and AI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model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training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39" name="Szöveg helye 2">
            <a:extLst>
              <a:ext uri="{FF2B5EF4-FFF2-40B4-BE49-F238E27FC236}">
                <a16:creationId xmlns:a16="http://schemas.microsoft.com/office/drawing/2014/main" id="{AA45A2A5-41BD-03BA-FAF6-3943E0A8EC7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5311775" y="5953124"/>
            <a:ext cx="5794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Functional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Workshops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202" name="Textplatzhalter 2">
            <a:extLst>
              <a:ext uri="{FF2B5EF4-FFF2-40B4-BE49-F238E27FC236}">
                <a16:creationId xmlns:a16="http://schemas.microsoft.com/office/drawing/2014/main" id="{433799D3-B7EE-24A1-9A69-2666A9371ED2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9423400" y="3671888"/>
            <a:ext cx="136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Hy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" name="Szöveg helye 2">
            <a:extLst>
              <a:ext uri="{FF2B5EF4-FFF2-40B4-BE49-F238E27FC236}">
                <a16:creationId xmlns:a16="http://schemas.microsoft.com/office/drawing/2014/main" id="{7C740982-ACBB-4148-88E8-946EA5925428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4730750" y="5953124"/>
            <a:ext cx="5302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Technical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latin typeface="Open Sauce One"/>
              </a:rPr>
              <a:t>Workshop</a:t>
            </a:r>
            <a:endParaRPr lang="en-US" altLang="en-US" sz="1000"/>
          </a:p>
        </p:txBody>
      </p:sp>
      <p:sp>
        <p:nvSpPr>
          <p:cNvPr id="209" name="Textplatzhalter 2">
            <a:extLst>
              <a:ext uri="{FF2B5EF4-FFF2-40B4-BE49-F238E27FC236}">
                <a16:creationId xmlns:a16="http://schemas.microsoft.com/office/drawing/2014/main" id="{050B81E8-DF12-CAD5-BD4E-356298DD78A4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428750" y="3671888"/>
            <a:ext cx="20399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Hypatos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Studio &amp;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Insights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configuration</a:t>
            </a:r>
            <a:endParaRPr kumimoji="0" lang="en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89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4367213" y="5953125"/>
            <a:ext cx="312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  <a:sym typeface="Lato" panose="020F0502020204030203" pitchFamily="34" charset="0"/>
              </a:rPr>
              <a:t>Today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70" name="Szöveg helye 2">
            <a:extLst>
              <a:ext uri="{FF2B5EF4-FFF2-40B4-BE49-F238E27FC236}">
                <a16:creationId xmlns:a16="http://schemas.microsoft.com/office/drawing/2014/main" id="{65ED5487-8CA0-A0A4-6C8D-C862D8CD929D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5942013" y="5953124"/>
            <a:ext cx="7540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ym typeface="Lato" panose="020F0502020204030203" pitchFamily="34" charset="0"/>
              </a:rPr>
              <a:t>Requirements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ym typeface="Lato" panose="020F0502020204030203" pitchFamily="34" charset="0"/>
              </a:rPr>
              <a:t>Gathering</a:t>
            </a:r>
          </a:p>
        </p:txBody>
      </p:sp>
      <p:sp>
        <p:nvSpPr>
          <p:cNvPr id="72" name="Szöveg helye 2">
            <a:extLst>
              <a:ext uri="{FF2B5EF4-FFF2-40B4-BE49-F238E27FC236}">
                <a16:creationId xmlns:a16="http://schemas.microsoft.com/office/drawing/2014/main" id="{F801FC1F-4D6B-B567-D040-78EAFB9D5856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10317163" y="3254375"/>
            <a:ext cx="928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PMO + Tax &amp; SME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60" name="Szöveg helye 2">
            <a:extLst>
              <a:ext uri="{FF2B5EF4-FFF2-40B4-BE49-F238E27FC236}">
                <a16:creationId xmlns:a16="http://schemas.microsoft.com/office/drawing/2014/main" id="{63AA384E-A889-09DD-7E11-828F14138EC3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929063" y="5953124"/>
            <a:ext cx="3873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Pilot 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Kick-off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BCC02CE-363C-4CC7-A5B2-288E902FD94F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9423400" y="3254375"/>
            <a:ext cx="8429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/>
                <a:sym typeface="Lato" panose="020F0502020204030203" pitchFamily="34" charset="0"/>
              </a:rPr>
              <a:t>Hy &amp;</a:t>
            </a:r>
            <a:r>
              <a:rPr lang="en-GB" altLang="en-US" sz="1000">
                <a:solidFill>
                  <a:srgbClr val="000000"/>
                </a:solidFill>
                <a:latin typeface="Open Sauce One"/>
                <a:sym typeface="Lato" panose="020F0502020204030203" pitchFamily="34" charset="0"/>
              </a:rPr>
              <a:t> KWS/PWC 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238" name="TextBox 48">
            <a:extLst>
              <a:ext uri="{FF2B5EF4-FFF2-40B4-BE49-F238E27FC236}">
                <a16:creationId xmlns:a16="http://schemas.microsoft.com/office/drawing/2014/main" id="{9C2410F6-A6D0-6311-799F-DF03C8BE76BB}"/>
              </a:ext>
            </a:extLst>
          </p:cNvPr>
          <p:cNvSpPr txBox="1"/>
          <p:nvPr/>
        </p:nvSpPr>
        <p:spPr>
          <a:xfrm>
            <a:off x="254367" y="1812925"/>
            <a:ext cx="1278281" cy="2794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PMO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</a:endParaRPr>
          </a:p>
        </p:txBody>
      </p:sp>
      <p:sp>
        <p:nvSpPr>
          <p:cNvPr id="239" name="TextBox 48">
            <a:extLst>
              <a:ext uri="{FF2B5EF4-FFF2-40B4-BE49-F238E27FC236}">
                <a16:creationId xmlns:a16="http://schemas.microsoft.com/office/drawing/2014/main" id="{05EB0E5D-E8E0-C958-C0A9-59FDB51C81EF}"/>
              </a:ext>
            </a:extLst>
          </p:cNvPr>
          <p:cNvSpPr txBox="1"/>
          <p:nvPr/>
        </p:nvSpPr>
        <p:spPr>
          <a:xfrm>
            <a:off x="254367" y="2517775"/>
            <a:ext cx="1225067" cy="4572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Pilot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</a:endParaRPr>
          </a:p>
        </p:txBody>
      </p:sp>
      <p:sp>
        <p:nvSpPr>
          <p:cNvPr id="240" name="TextBox 48">
            <a:extLst>
              <a:ext uri="{FF2B5EF4-FFF2-40B4-BE49-F238E27FC236}">
                <a16:creationId xmlns:a16="http://schemas.microsoft.com/office/drawing/2014/main" id="{F502915B-C741-72DB-2A6D-2463BF3A1AF5}"/>
              </a:ext>
            </a:extLst>
          </p:cNvPr>
          <p:cNvSpPr txBox="1"/>
          <p:nvPr/>
        </p:nvSpPr>
        <p:spPr>
          <a:xfrm>
            <a:off x="282941" y="5268914"/>
            <a:ext cx="1225067" cy="4572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Expansion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</a:endParaRPr>
          </a:p>
        </p:txBody>
      </p:sp>
      <p:sp>
        <p:nvSpPr>
          <p:cNvPr id="241" name="TextBox 48">
            <a:extLst>
              <a:ext uri="{FF2B5EF4-FFF2-40B4-BE49-F238E27FC236}">
                <a16:creationId xmlns:a16="http://schemas.microsoft.com/office/drawing/2014/main" id="{5B81A42A-9D25-02E6-E21B-A31B0651AFCF}"/>
              </a:ext>
            </a:extLst>
          </p:cNvPr>
          <p:cNvSpPr txBox="1"/>
          <p:nvPr/>
        </p:nvSpPr>
        <p:spPr>
          <a:xfrm>
            <a:off x="254367" y="4651374"/>
            <a:ext cx="1225067" cy="4572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Roll-out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7824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412140" y="1561830"/>
            <a:ext cx="3000846" cy="194694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/>
              </a:rPr>
              <a:t>Yavuz Güney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latin typeface="Open Sauce One" pitchFamily="2" charset="0"/>
              </a:rPr>
              <a:t>I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43C7A1"/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avuz.guney@hypatos.ai</a:t>
            </a:r>
            <a:endParaRPr lang="en-US" sz="1200" dirty="0">
              <a:solidFill>
                <a:srgbClr val="43C7A1"/>
              </a:solidFill>
              <a:ea typeface="+mn-lt"/>
              <a:cs typeface="+mn-lt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latin typeface="Open Sauce One"/>
              </a:rPr>
              <a:t>+49 155 666 80146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33508" y="2941584"/>
            <a:ext cx="3718491" cy="3470223"/>
          </a:xfrm>
          <a:prstGeom prst="rect">
            <a:avLst/>
          </a:prstGeom>
        </p:spPr>
      </p:pic>
      <p:sp>
        <p:nvSpPr>
          <p:cNvPr id="11" name="Rechteck 6">
            <a:extLst>
              <a:ext uri="{FF2B5EF4-FFF2-40B4-BE49-F238E27FC236}">
                <a16:creationId xmlns:a16="http://schemas.microsoft.com/office/drawing/2014/main" id="{80C21CE7-FD18-B54E-4BE8-190C16AC6CCA}"/>
              </a:ext>
            </a:extLst>
          </p:cNvPr>
          <p:cNvSpPr/>
          <p:nvPr/>
        </p:nvSpPr>
        <p:spPr>
          <a:xfrm>
            <a:off x="413006" y="3506744"/>
            <a:ext cx="3000846" cy="1669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Elena Kuhn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Customer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uccess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latin typeface="Open Sauce One" pitchFamily="2" charset="0"/>
                <a:hlinkClick r:id="rId9"/>
              </a:rPr>
              <a:t>elena.kuhn@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4" name="Rechteck 6">
            <a:extLst>
              <a:ext uri="{FF2B5EF4-FFF2-40B4-BE49-F238E27FC236}">
                <a16:creationId xmlns:a16="http://schemas.microsoft.com/office/drawing/2014/main" id="{FB13752A-4410-5200-A983-49ED2CEDDD3B}"/>
              </a:ext>
            </a:extLst>
          </p:cNvPr>
          <p:cNvSpPr/>
          <p:nvPr/>
        </p:nvSpPr>
        <p:spPr>
          <a:xfrm>
            <a:off x="3310487" y="1559411"/>
            <a:ext cx="3000846" cy="166994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de-DE" b="1" dirty="0">
                <a:solidFill>
                  <a:schemeClr val="accent4"/>
                </a:solidFill>
                <a:latin typeface="Open Sauce One"/>
              </a:rPr>
              <a:t>Melinda Braun</a:t>
            </a:r>
            <a:endParaRPr kumimoji="0" lang="de-DE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>
              <a:lnSpc>
                <a:spcPct val="150000"/>
              </a:lnSpc>
              <a:defRPr/>
            </a:pPr>
            <a:r>
              <a:rPr lang="de-DE" sz="1200" dirty="0">
                <a:latin typeface="Open Sauce One"/>
              </a:rPr>
              <a:t>Project Manager</a:t>
            </a:r>
            <a:endParaRPr lang="de-DE" dirty="0"/>
          </a:p>
          <a:p>
            <a:pPr marL="0" marR="0" lvl="0" indent="0" defTabSz="9144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r>
              <a:rPr lang="de-DE" sz="1200" dirty="0">
                <a:ea typeface="+mn-lt"/>
                <a:cs typeface="+mn-lt"/>
                <a:hlinkClick r:id="rId10"/>
              </a:rPr>
              <a:t>melinda.braun@hypatos.ai</a:t>
            </a:r>
            <a:endParaRPr lang="de-DE" sz="1200" b="0" i="0" u="none" strike="noStrike" kern="1200" cap="none" spc="0" normalizeH="0" baseline="0" noProof="0" dirty="0">
              <a:ln>
                <a:noFill/>
              </a:ln>
              <a:solidFill>
                <a:srgbClr val="7197FF"/>
              </a:solidFill>
              <a:effectLst/>
              <a:uLnTx/>
              <a:uFillTx/>
              <a:latin typeface="Open Sauce One" pitchFamily="2" charset="0"/>
              <a:ea typeface="Calibri"/>
              <a:cs typeface="Calibri"/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9731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121720"/>
              </p:ext>
            </p:extLst>
          </p:nvPr>
        </p:nvGraphicFramePr>
        <p:xfrm>
          <a:off x="406268" y="1604864"/>
          <a:ext cx="11342819" cy="37564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8-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Initial historical documents and data transfer is taking more time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Escalate on KWS technical teams to resolve the issues</a:t>
                      </a:r>
                    </a:p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elp team to enable integration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KWS/H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los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495784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8-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xSuit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integration might take more time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iscuss Solution Design extensively and support if need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ypatos x KWS to revisit Integration and Project Timelines based on resource onboarding.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08-28</a:t>
                      </a: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 Matching config and ML Training takes more resources than expecte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hedule a session with HY SAP and Product Team to expedite the process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08-28</a:t>
                      </a: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oor PO Matching Enrichment Quality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Ensure that annotation of Line item is done right by providing annotation guidelin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08-28</a:t>
                      </a: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customer expectations are not aligned with HY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DE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2024-08-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ct Closing Date not able to achieve due to vacation of important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Ope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29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953336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37D125-ADAB-4F5E-8C38-8C4120D15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6570" y="6406069"/>
            <a:ext cx="470468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CB2916-F678-8246-9302-9E5EDFC915AB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0050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0050"/>
              </a:solidFill>
              <a:effectLst/>
              <a:uLnTx/>
              <a:uFillTx/>
              <a:latin typeface="Lato" panose="020F0502020204030203" pitchFamily="34" charset="77"/>
              <a:ea typeface="+mn-ea"/>
              <a:cs typeface="+mn-cs"/>
            </a:endParaRPr>
          </a:p>
        </p:txBody>
      </p:sp>
      <p:sp>
        <p:nvSpPr>
          <p:cNvPr id="51" name="Titel 50">
            <a:extLst>
              <a:ext uri="{FF2B5EF4-FFF2-40B4-BE49-F238E27FC236}">
                <a16:creationId xmlns:a16="http://schemas.microsoft.com/office/drawing/2014/main" id="{8CB0A566-FDA5-472A-B5DC-D8BDA81590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2855" y="571186"/>
            <a:ext cx="10159615" cy="961400"/>
          </a:xfrm>
        </p:spPr>
        <p:txBody>
          <a:bodyPr vert="horz">
            <a:noAutofit/>
          </a:bodyPr>
          <a:lstStyle/>
          <a:p>
            <a:r>
              <a:rPr lang="en-GB" sz="2400" err="1">
                <a:latin typeface="Lato Semibold" panose="020F0502020204030203"/>
                <a:ea typeface="Lato" charset="0"/>
                <a:cs typeface="Lato" charset="0"/>
              </a:rPr>
              <a:t>xSuite</a:t>
            </a:r>
            <a:r>
              <a:rPr lang="en-GB" sz="2400">
                <a:latin typeface="Lato Semibold" panose="020F0502020204030203"/>
                <a:ea typeface="Lato" charset="0"/>
                <a:cs typeface="Lato" charset="0"/>
              </a:rPr>
              <a:t> – Hypatos Solution Design</a:t>
            </a:r>
            <a:endParaRPr lang="en-GB" sz="240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7A96120-C0D6-44E2-A885-F8F5AFF07CC4}"/>
              </a:ext>
            </a:extLst>
          </p:cNvPr>
          <p:cNvSpPr/>
          <p:nvPr/>
        </p:nvSpPr>
        <p:spPr>
          <a:xfrm>
            <a:off x="279877" y="1609766"/>
            <a:ext cx="9364454" cy="244894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7CB97F6-8BAD-49C2-BA52-B89EC0BF8E84}"/>
              </a:ext>
            </a:extLst>
          </p:cNvPr>
          <p:cNvSpPr/>
          <p:nvPr/>
        </p:nvSpPr>
        <p:spPr>
          <a:xfrm>
            <a:off x="279878" y="4199172"/>
            <a:ext cx="9364454" cy="178412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pic>
        <p:nvPicPr>
          <p:cNvPr id="75" name="Grafik 5">
            <a:extLst>
              <a:ext uri="{FF2B5EF4-FFF2-40B4-BE49-F238E27FC236}">
                <a16:creationId xmlns:a16="http://schemas.microsoft.com/office/drawing/2014/main" id="{6FF2AB46-72CD-40F5-8B58-8CA0BD57253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95" y="4279494"/>
            <a:ext cx="484236" cy="99696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EA0FCE54-CA22-41C8-ABC5-1B587712A24D}"/>
              </a:ext>
            </a:extLst>
          </p:cNvPr>
          <p:cNvSpPr/>
          <p:nvPr/>
        </p:nvSpPr>
        <p:spPr>
          <a:xfrm>
            <a:off x="3035454" y="4617821"/>
            <a:ext cx="4048608" cy="1283992"/>
          </a:xfrm>
          <a:prstGeom prst="rect">
            <a:avLst/>
          </a:prstGeom>
          <a:noFill/>
          <a:ln w="19050">
            <a:solidFill>
              <a:schemeClr val="accent4"/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5F6AA7E5-622D-42F5-BC74-A23DA9A9B65C}"/>
              </a:ext>
            </a:extLst>
          </p:cNvPr>
          <p:cNvSpPr/>
          <p:nvPr/>
        </p:nvSpPr>
        <p:spPr>
          <a:xfrm>
            <a:off x="2684370" y="1717172"/>
            <a:ext cx="5908459" cy="2235254"/>
          </a:xfrm>
          <a:prstGeom prst="rect">
            <a:avLst/>
          </a:prstGeom>
          <a:noFill/>
          <a:ln w="19050">
            <a:solidFill>
              <a:schemeClr val="accent4">
                <a:lumMod val="40000"/>
                <a:lumOff val="60000"/>
              </a:schemeClr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69" name="Cylinder 168">
            <a:extLst>
              <a:ext uri="{FF2B5EF4-FFF2-40B4-BE49-F238E27FC236}">
                <a16:creationId xmlns:a16="http://schemas.microsoft.com/office/drawing/2014/main" id="{BEECB3D3-2C6C-4203-B18D-57A331B02B0B}"/>
              </a:ext>
            </a:extLst>
          </p:cNvPr>
          <p:cNvSpPr/>
          <p:nvPr/>
        </p:nvSpPr>
        <p:spPr>
          <a:xfrm>
            <a:off x="7421477" y="1826972"/>
            <a:ext cx="991255" cy="1084089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aster Data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osting Data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O Data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000000"/>
                </a:solidFill>
                <a:latin typeface="Lato" panose="020F0502020204030203" pitchFamily="34" charset="0"/>
              </a:rPr>
              <a:t>Attribute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3D9A6811-B197-4CD1-800E-043642C792C6}"/>
              </a:ext>
            </a:extLst>
          </p:cNvPr>
          <p:cNvSpPr/>
          <p:nvPr/>
        </p:nvSpPr>
        <p:spPr>
          <a:xfrm>
            <a:off x="4159247" y="1852488"/>
            <a:ext cx="1536580" cy="946770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pic>
        <p:nvPicPr>
          <p:cNvPr id="173" name="Picture 4" descr="SAP – Wikipedia">
            <a:extLst>
              <a:ext uri="{FF2B5EF4-FFF2-40B4-BE49-F238E27FC236}">
                <a16:creationId xmlns:a16="http://schemas.microsoft.com/office/drawing/2014/main" id="{3BA252B9-9E5F-4AA6-9495-4C8CFF8E2D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693" y="1793428"/>
            <a:ext cx="427726" cy="218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4" name="Cylinder 173">
            <a:extLst>
              <a:ext uri="{FF2B5EF4-FFF2-40B4-BE49-F238E27FC236}">
                <a16:creationId xmlns:a16="http://schemas.microsoft.com/office/drawing/2014/main" id="{64BE81D5-8E63-4882-A838-FB53FA6813EE}"/>
              </a:ext>
            </a:extLst>
          </p:cNvPr>
          <p:cNvSpPr/>
          <p:nvPr/>
        </p:nvSpPr>
        <p:spPr>
          <a:xfrm>
            <a:off x="4425763" y="2192678"/>
            <a:ext cx="983190" cy="512233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nvoices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0B4BCB2-C1E9-433F-935D-16C0F2BDE4EF}"/>
              </a:ext>
            </a:extLst>
          </p:cNvPr>
          <p:cNvSpPr/>
          <p:nvPr/>
        </p:nvSpPr>
        <p:spPr>
          <a:xfrm>
            <a:off x="6050824" y="1845812"/>
            <a:ext cx="1033280" cy="951464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Archive</a:t>
            </a:r>
          </a:p>
        </p:txBody>
      </p:sp>
      <p:pic>
        <p:nvPicPr>
          <p:cNvPr id="178" name="Picture 12">
            <a:extLst>
              <a:ext uri="{FF2B5EF4-FFF2-40B4-BE49-F238E27FC236}">
                <a16:creationId xmlns:a16="http://schemas.microsoft.com/office/drawing/2014/main" id="{0BE70185-CE66-44A6-8DCD-A741434703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6529" y="2256462"/>
            <a:ext cx="385870" cy="385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4" name="Rectangle 133">
            <a:extLst>
              <a:ext uri="{FF2B5EF4-FFF2-40B4-BE49-F238E27FC236}">
                <a16:creationId xmlns:a16="http://schemas.microsoft.com/office/drawing/2014/main" id="{4737E220-6A23-446C-8B9E-D45EF6CDF893}"/>
              </a:ext>
            </a:extLst>
          </p:cNvPr>
          <p:cNvSpPr/>
          <p:nvPr/>
        </p:nvSpPr>
        <p:spPr>
          <a:xfrm>
            <a:off x="7804895" y="6178121"/>
            <a:ext cx="305956" cy="150457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AFE14E51-9BF7-4FC9-A558-B00779C1B616}"/>
              </a:ext>
            </a:extLst>
          </p:cNvPr>
          <p:cNvSpPr txBox="1"/>
          <p:nvPr/>
        </p:nvSpPr>
        <p:spPr>
          <a:xfrm>
            <a:off x="8170347" y="6178121"/>
            <a:ext cx="92952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Hypatos cloud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FFD4B5DA-58A4-4D29-85A6-69B3C1278C61}"/>
              </a:ext>
            </a:extLst>
          </p:cNvPr>
          <p:cNvSpPr/>
          <p:nvPr/>
        </p:nvSpPr>
        <p:spPr>
          <a:xfrm>
            <a:off x="7804895" y="6513404"/>
            <a:ext cx="305956" cy="15045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F8C588B9-B7D1-4F1E-A9CC-F6D65025D16C}"/>
              </a:ext>
            </a:extLst>
          </p:cNvPr>
          <p:cNvSpPr txBox="1"/>
          <p:nvPr/>
        </p:nvSpPr>
        <p:spPr>
          <a:xfrm>
            <a:off x="8170347" y="6532860"/>
            <a:ext cx="86255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ustomer premise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3FCB8415-AB0D-4F6A-9CC7-FFDC55FCF4EA}"/>
              </a:ext>
            </a:extLst>
          </p:cNvPr>
          <p:cNvSpPr txBox="1"/>
          <p:nvPr/>
        </p:nvSpPr>
        <p:spPr>
          <a:xfrm>
            <a:off x="1698990" y="6177608"/>
            <a:ext cx="3837691" cy="512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hlinkClick r:id="rId6"/>
              </a:rPr>
              <a:t>https://studio-docs.hypatos.ai/user-guide/document-upload/email-servic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2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hlinkClick r:id="rId7"/>
              </a:rPr>
              <a:t>https://hypatos.redoc.ly/#section/Introductio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3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  <a:hlinkClick r:id="rId8"/>
              </a:rPr>
              <a:t>https://studio-docs.hypatos.ai/integrations/sap-integratio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71AC8DEA-5CB1-4C52-8367-02172AA7079A}"/>
              </a:ext>
            </a:extLst>
          </p:cNvPr>
          <p:cNvSpPr/>
          <p:nvPr/>
        </p:nvSpPr>
        <p:spPr>
          <a:xfrm>
            <a:off x="2852983" y="2255754"/>
            <a:ext cx="1031614" cy="3853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xSuit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: Create documen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458249A-2084-4399-E716-8411895E4ECA}"/>
              </a:ext>
            </a:extLst>
          </p:cNvPr>
          <p:cNvGrpSpPr/>
          <p:nvPr/>
        </p:nvGrpSpPr>
        <p:grpSpPr>
          <a:xfrm>
            <a:off x="4600707" y="4711591"/>
            <a:ext cx="1703465" cy="1131440"/>
            <a:chOff x="4214988" y="4711591"/>
            <a:chExt cx="1703465" cy="1131440"/>
          </a:xfrm>
        </p:grpSpPr>
        <p:sp>
          <p:nvSpPr>
            <p:cNvPr id="115" name="Abgerundetes Rechteck 72">
              <a:extLst>
                <a:ext uri="{FF2B5EF4-FFF2-40B4-BE49-F238E27FC236}">
                  <a16:creationId xmlns:a16="http://schemas.microsoft.com/office/drawing/2014/main" id="{75AE08B6-1BA9-4641-B63D-CF7C8E862C9F}"/>
                </a:ext>
              </a:extLst>
            </p:cNvPr>
            <p:cNvSpPr/>
            <p:nvPr/>
          </p:nvSpPr>
          <p:spPr>
            <a:xfrm>
              <a:off x="4221454" y="4711591"/>
              <a:ext cx="773867" cy="486951"/>
            </a:xfrm>
            <a:prstGeom prst="roundRect">
              <a:avLst>
                <a:gd name="adj" fmla="val 5991"/>
              </a:avLst>
            </a:prstGeom>
            <a:solidFill>
              <a:schemeClr val="accent4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rPr>
                <a:t>Extract</a:t>
              </a:r>
            </a:p>
          </p:txBody>
        </p:sp>
        <p:sp>
          <p:nvSpPr>
            <p:cNvPr id="116" name="Abgerundetes Rechteck 72">
              <a:extLst>
                <a:ext uri="{FF2B5EF4-FFF2-40B4-BE49-F238E27FC236}">
                  <a16:creationId xmlns:a16="http://schemas.microsoft.com/office/drawing/2014/main" id="{0777B869-D9E0-45CB-A0A1-1F4C6AFEEC6E}"/>
                </a:ext>
              </a:extLst>
            </p:cNvPr>
            <p:cNvSpPr/>
            <p:nvPr/>
          </p:nvSpPr>
          <p:spPr>
            <a:xfrm>
              <a:off x="5144586" y="4711591"/>
              <a:ext cx="773867" cy="486951"/>
            </a:xfrm>
            <a:prstGeom prst="roundRect">
              <a:avLst>
                <a:gd name="adj" fmla="val 5991"/>
              </a:avLst>
            </a:prstGeom>
            <a:solidFill>
              <a:schemeClr val="accent4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rPr>
                <a:t>Enrich</a:t>
              </a:r>
              <a:endPara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17" name="Abgerundetes Rechteck 72">
              <a:extLst>
                <a:ext uri="{FF2B5EF4-FFF2-40B4-BE49-F238E27FC236}">
                  <a16:creationId xmlns:a16="http://schemas.microsoft.com/office/drawing/2014/main" id="{4DA13E29-58FD-48F6-9832-309C2DAD2F2B}"/>
                </a:ext>
              </a:extLst>
            </p:cNvPr>
            <p:cNvSpPr/>
            <p:nvPr/>
          </p:nvSpPr>
          <p:spPr>
            <a:xfrm>
              <a:off x="4214988" y="5356080"/>
              <a:ext cx="773867" cy="486951"/>
            </a:xfrm>
            <a:prstGeom prst="roundRect">
              <a:avLst>
                <a:gd name="adj" fmla="val 5991"/>
              </a:avLst>
            </a:prstGeom>
            <a:solidFill>
              <a:schemeClr val="accent4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rPr>
                <a:t>Complete</a:t>
              </a:r>
              <a:endPara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18" name="Abgerundetes Rechteck 72">
              <a:extLst>
                <a:ext uri="{FF2B5EF4-FFF2-40B4-BE49-F238E27FC236}">
                  <a16:creationId xmlns:a16="http://schemas.microsoft.com/office/drawing/2014/main" id="{0E92B149-20FC-41A4-BFBA-FEB834785BA5}"/>
                </a:ext>
              </a:extLst>
            </p:cNvPr>
            <p:cNvSpPr/>
            <p:nvPr/>
          </p:nvSpPr>
          <p:spPr>
            <a:xfrm>
              <a:off x="5144586" y="5356080"/>
              <a:ext cx="773867" cy="486951"/>
            </a:xfrm>
            <a:prstGeom prst="roundRect">
              <a:avLst>
                <a:gd name="adj" fmla="val 5991"/>
              </a:avLst>
            </a:prstGeom>
            <a:solidFill>
              <a:schemeClr val="accent4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rPr>
                <a:t>Validate</a:t>
              </a:r>
              <a:endPara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cxnSp>
          <p:nvCxnSpPr>
            <p:cNvPr id="120" name="Straight Arrow Connector 119">
              <a:extLst>
                <a:ext uri="{FF2B5EF4-FFF2-40B4-BE49-F238E27FC236}">
                  <a16:creationId xmlns:a16="http://schemas.microsoft.com/office/drawing/2014/main" id="{BECC279F-3C6D-4428-95B7-48D093C7B592}"/>
                </a:ext>
              </a:extLst>
            </p:cNvPr>
            <p:cNvCxnSpPr>
              <a:stCxn id="115" idx="3"/>
              <a:endCxn id="116" idx="1"/>
            </p:cNvCxnSpPr>
            <p:nvPr/>
          </p:nvCxnSpPr>
          <p:spPr>
            <a:xfrm>
              <a:off x="4995321" y="4955067"/>
              <a:ext cx="149265" cy="0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Arrow Connector 120">
              <a:extLst>
                <a:ext uri="{FF2B5EF4-FFF2-40B4-BE49-F238E27FC236}">
                  <a16:creationId xmlns:a16="http://schemas.microsoft.com/office/drawing/2014/main" id="{1FE1B0AC-A79B-4C53-A19A-491110127148}"/>
                </a:ext>
              </a:extLst>
            </p:cNvPr>
            <p:cNvCxnSpPr>
              <a:cxnSpLocks/>
              <a:stCxn id="116" idx="2"/>
              <a:endCxn id="118" idx="0"/>
            </p:cNvCxnSpPr>
            <p:nvPr/>
          </p:nvCxnSpPr>
          <p:spPr>
            <a:xfrm>
              <a:off x="5531520" y="5198542"/>
              <a:ext cx="0" cy="157538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EDC9CA03-7F01-4514-8F71-6EE950F71DFE}"/>
                </a:ext>
              </a:extLst>
            </p:cNvPr>
            <p:cNvCxnSpPr>
              <a:cxnSpLocks/>
              <a:stCxn id="118" idx="1"/>
              <a:endCxn id="117" idx="3"/>
            </p:cNvCxnSpPr>
            <p:nvPr/>
          </p:nvCxnSpPr>
          <p:spPr>
            <a:xfrm flipH="1">
              <a:off x="4988855" y="5599556"/>
              <a:ext cx="155731" cy="0"/>
            </a:xfrm>
            <a:prstGeom prst="straightConnector1">
              <a:avLst/>
            </a:prstGeom>
            <a:ln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6396372A-8CA3-4E92-894F-EA7440EE6767}"/>
              </a:ext>
            </a:extLst>
          </p:cNvPr>
          <p:cNvSpPr/>
          <p:nvPr/>
        </p:nvSpPr>
        <p:spPr>
          <a:xfrm>
            <a:off x="161689" y="4238444"/>
            <a:ext cx="80026" cy="116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591EE6E9-1B8B-4CF6-A7D6-DB853B0D1C1A}"/>
              </a:ext>
            </a:extLst>
          </p:cNvPr>
          <p:cNvSpPr/>
          <p:nvPr/>
        </p:nvSpPr>
        <p:spPr>
          <a:xfrm>
            <a:off x="9717935" y="1609766"/>
            <a:ext cx="2183869" cy="44977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ypatos SAP Connector periodically collects master, PO and posting data (including archive images for initial model training) required for master data enrichment and attribute prediction in Hypatos Studi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trieved data is sent to Hypatos cloud via Hypatos REST AP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mailed and scanned invoices are inserted into Hypatos Studio for process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ypatos Studio extracts, enriches and completes the docu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ypatos SAP Connector regularly triggers Hypatos REST API to fetch document data and invoice image from Hypatos Studi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ypatos SAP Connector calls SAP BADI implementation passing in and mapping document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ADI implementation calls </a:t>
            </a:r>
            <a:r>
              <a:rPr kumimoji="0" lang="en-GB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xSuite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function module for creation and archiving of invoice</a:t>
            </a:r>
          </a:p>
          <a:p>
            <a:pPr>
              <a:spcAft>
                <a:spcPts val="600"/>
              </a:spcAft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WS Matrix ticketing system calls HY API to get </a:t>
            </a:r>
            <a:r>
              <a:rPr kumimoji="0" lang="en-GB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unnin</a:t>
            </a:r>
            <a:r>
              <a:rPr lang="en-GB" sz="900">
                <a:solidFill>
                  <a:srgbClr val="000000"/>
                </a:solidFill>
                <a:latin typeface="Lato"/>
              </a:rPr>
              <a:t>g letter/other documents information and images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5409B130-C323-41B8-8291-5EC61DCF4BB4}"/>
              </a:ext>
            </a:extLst>
          </p:cNvPr>
          <p:cNvSpPr/>
          <p:nvPr/>
        </p:nvSpPr>
        <p:spPr>
          <a:xfrm>
            <a:off x="9781027" y="1682785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B97E0C97-79E6-402D-BDE1-43AD1252656C}"/>
              </a:ext>
            </a:extLst>
          </p:cNvPr>
          <p:cNvSpPr/>
          <p:nvPr/>
        </p:nvSpPr>
        <p:spPr>
          <a:xfrm>
            <a:off x="9781027" y="3031800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3D634FAE-7109-4D06-9411-ACC3D35B8012}"/>
              </a:ext>
            </a:extLst>
          </p:cNvPr>
          <p:cNvSpPr/>
          <p:nvPr/>
        </p:nvSpPr>
        <p:spPr>
          <a:xfrm>
            <a:off x="9779574" y="3514277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DAB7C201-A911-4C62-94AD-89C5546DE31F}"/>
              </a:ext>
            </a:extLst>
          </p:cNvPr>
          <p:cNvSpPr/>
          <p:nvPr/>
        </p:nvSpPr>
        <p:spPr>
          <a:xfrm>
            <a:off x="9779574" y="3872746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6BE5949E-50E2-439F-9CE2-02C4CCD38FD1}"/>
              </a:ext>
            </a:extLst>
          </p:cNvPr>
          <p:cNvSpPr/>
          <p:nvPr/>
        </p:nvSpPr>
        <p:spPr>
          <a:xfrm>
            <a:off x="9779574" y="4498495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1E855470-3CED-4A6E-9975-AFB9A7C3FF81}"/>
              </a:ext>
            </a:extLst>
          </p:cNvPr>
          <p:cNvSpPr/>
          <p:nvPr/>
        </p:nvSpPr>
        <p:spPr>
          <a:xfrm>
            <a:off x="9779062" y="5000888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7</a:t>
            </a: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E163B49E-83AD-40A0-8582-EFEDA700C0D9}"/>
              </a:ext>
            </a:extLst>
          </p:cNvPr>
          <p:cNvSpPr/>
          <p:nvPr/>
        </p:nvSpPr>
        <p:spPr>
          <a:xfrm>
            <a:off x="5704258" y="3595669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4B288CA-8028-4CA2-8E62-9D4AA0E83712}"/>
              </a:ext>
            </a:extLst>
          </p:cNvPr>
          <p:cNvSpPr/>
          <p:nvPr/>
        </p:nvSpPr>
        <p:spPr>
          <a:xfrm>
            <a:off x="2843663" y="3032506"/>
            <a:ext cx="1040934" cy="22911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BADI implementation</a:t>
            </a:r>
            <a:endParaRPr kumimoji="0" lang="en-GB" sz="8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3379129A-DD4D-42AE-8486-81B6232CD541}"/>
              </a:ext>
            </a:extLst>
          </p:cNvPr>
          <p:cNvSpPr/>
          <p:nvPr/>
        </p:nvSpPr>
        <p:spPr>
          <a:xfrm>
            <a:off x="161689" y="4238444"/>
            <a:ext cx="80026" cy="116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8DB1D71B-DF6E-45E3-8E6E-FB265DE404CC}"/>
              </a:ext>
            </a:extLst>
          </p:cNvPr>
          <p:cNvSpPr/>
          <p:nvPr/>
        </p:nvSpPr>
        <p:spPr>
          <a:xfrm>
            <a:off x="4346434" y="4761597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D27EE67E-DE61-46F8-AB07-6AF7AB3A3793}"/>
              </a:ext>
            </a:extLst>
          </p:cNvPr>
          <p:cNvSpPr/>
          <p:nvPr/>
        </p:nvSpPr>
        <p:spPr>
          <a:xfrm>
            <a:off x="3737543" y="2954683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EFB2F77B-6144-4F7F-B4CC-3799E8B6B640}"/>
              </a:ext>
            </a:extLst>
          </p:cNvPr>
          <p:cNvSpPr/>
          <p:nvPr/>
        </p:nvSpPr>
        <p:spPr>
          <a:xfrm>
            <a:off x="3035454" y="4426882"/>
            <a:ext cx="4048607" cy="227813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Hypatos REST API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2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pic>
        <p:nvPicPr>
          <p:cNvPr id="4" name="Picture 3" descr="A picture containing text, tableware, dishware, plate&#10;&#10;Description automatically generated">
            <a:extLst>
              <a:ext uri="{FF2B5EF4-FFF2-40B4-BE49-F238E27FC236}">
                <a16:creationId xmlns:a16="http://schemas.microsoft.com/office/drawing/2014/main" id="{F5443D85-F8ED-F02A-DB32-E7A594BBBFA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1482" y="1840010"/>
            <a:ext cx="615136" cy="227232"/>
          </a:xfrm>
          <a:prstGeom prst="rect">
            <a:avLst/>
          </a:prstGeom>
        </p:spPr>
      </p:pic>
      <p:sp>
        <p:nvSpPr>
          <p:cNvPr id="6" name="Rectangle: Rounded Corners 106">
            <a:extLst>
              <a:ext uri="{FF2B5EF4-FFF2-40B4-BE49-F238E27FC236}">
                <a16:creationId xmlns:a16="http://schemas.microsoft.com/office/drawing/2014/main" id="{92EC14D1-A405-3AD8-2DF0-92AFF1359112}"/>
              </a:ext>
            </a:extLst>
          </p:cNvPr>
          <p:cNvSpPr/>
          <p:nvPr/>
        </p:nvSpPr>
        <p:spPr>
          <a:xfrm>
            <a:off x="792969" y="3399256"/>
            <a:ext cx="862757" cy="181703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mail Inbo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AE4FBB-1F47-C3A4-972A-914B1B392621}"/>
              </a:ext>
            </a:extLst>
          </p:cNvPr>
          <p:cNvSpPr txBox="1"/>
          <p:nvPr/>
        </p:nvSpPr>
        <p:spPr>
          <a:xfrm>
            <a:off x="1233750" y="2734377"/>
            <a:ext cx="1036314" cy="3094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aper based invoices (scanned)</a:t>
            </a:r>
          </a:p>
        </p:txBody>
      </p:sp>
      <p:cxnSp>
        <p:nvCxnSpPr>
          <p:cNvPr id="12" name="Connector: Elbow 213">
            <a:extLst>
              <a:ext uri="{FF2B5EF4-FFF2-40B4-BE49-F238E27FC236}">
                <a16:creationId xmlns:a16="http://schemas.microsoft.com/office/drawing/2014/main" id="{5E166A0A-5017-68A9-C1DC-5C519497D174}"/>
              </a:ext>
            </a:extLst>
          </p:cNvPr>
          <p:cNvCxnSpPr>
            <a:cxnSpLocks/>
            <a:stCxn id="7" idx="2"/>
            <a:endCxn id="6" idx="0"/>
          </p:cNvCxnSpPr>
          <p:nvPr/>
        </p:nvCxnSpPr>
        <p:spPr>
          <a:xfrm rot="5400000">
            <a:off x="1310417" y="2957766"/>
            <a:ext cx="355422" cy="527559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3" name="Connector: Elbow 105">
            <a:extLst>
              <a:ext uri="{FF2B5EF4-FFF2-40B4-BE49-F238E27FC236}">
                <a16:creationId xmlns:a16="http://schemas.microsoft.com/office/drawing/2014/main" id="{61A815B5-02C7-DF56-70D1-98C9C5417DE7}"/>
              </a:ext>
            </a:extLst>
          </p:cNvPr>
          <p:cNvCxnSpPr>
            <a:cxnSpLocks/>
            <a:endCxn id="6" idx="0"/>
          </p:cNvCxnSpPr>
          <p:nvPr/>
        </p:nvCxnSpPr>
        <p:spPr>
          <a:xfrm rot="16200000" flipH="1">
            <a:off x="832742" y="3007649"/>
            <a:ext cx="356257" cy="426955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4" name="Graphic 306" descr="Photocopier with solid fill">
            <a:extLst>
              <a:ext uri="{FF2B5EF4-FFF2-40B4-BE49-F238E27FC236}">
                <a16:creationId xmlns:a16="http://schemas.microsoft.com/office/drawing/2014/main" id="{E486A69E-6413-B225-AD4F-F709A25E508A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04186" y="2345421"/>
            <a:ext cx="364766" cy="364766"/>
          </a:xfrm>
          <a:prstGeom prst="rect">
            <a:avLst/>
          </a:prstGeom>
        </p:spPr>
      </p:pic>
      <p:sp>
        <p:nvSpPr>
          <p:cNvPr id="17" name="Rectangle: Rounded Corners 133">
            <a:extLst>
              <a:ext uri="{FF2B5EF4-FFF2-40B4-BE49-F238E27FC236}">
                <a16:creationId xmlns:a16="http://schemas.microsoft.com/office/drawing/2014/main" id="{436EC817-8007-2127-243A-83A1E29678F0}"/>
              </a:ext>
            </a:extLst>
          </p:cNvPr>
          <p:cNvSpPr/>
          <p:nvPr/>
        </p:nvSpPr>
        <p:spPr>
          <a:xfrm>
            <a:off x="645797" y="4676969"/>
            <a:ext cx="1157099" cy="183790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 w="9525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mail Service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</a:t>
            </a:r>
          </a:p>
        </p:txBody>
      </p:sp>
      <p:pic>
        <p:nvPicPr>
          <p:cNvPr id="54" name="Picture 6" descr="PDF File - Free interface icons">
            <a:extLst>
              <a:ext uri="{FF2B5EF4-FFF2-40B4-BE49-F238E27FC236}">
                <a16:creationId xmlns:a16="http://schemas.microsoft.com/office/drawing/2014/main" id="{E5F8FE73-B52B-D2CE-16BB-D335D2C7D8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013" y="2345421"/>
            <a:ext cx="337379" cy="337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8EE05003-6020-0EF2-9B63-ED33E3DF3B06}"/>
              </a:ext>
            </a:extLst>
          </p:cNvPr>
          <p:cNvSpPr txBox="1"/>
          <p:nvPr/>
        </p:nvSpPr>
        <p:spPr>
          <a:xfrm>
            <a:off x="433586" y="2734377"/>
            <a:ext cx="726442" cy="3094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mailed invoices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85D961AF-7E7E-32D4-32B7-F5C92F6387EA}"/>
              </a:ext>
            </a:extLst>
          </p:cNvPr>
          <p:cNvCxnSpPr>
            <a:cxnSpLocks/>
            <a:stCxn id="6" idx="2"/>
            <a:endCxn id="17" idx="0"/>
          </p:cNvCxnSpPr>
          <p:nvPr/>
        </p:nvCxnSpPr>
        <p:spPr>
          <a:xfrm flipH="1">
            <a:off x="1224347" y="3580959"/>
            <a:ext cx="1" cy="10960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7DF55866-4670-2C67-8E5F-92BA3400A831}"/>
              </a:ext>
            </a:extLst>
          </p:cNvPr>
          <p:cNvCxnSpPr>
            <a:cxnSpLocks/>
            <a:stCxn id="157" idx="1"/>
            <a:endCxn id="104" idx="3"/>
          </p:cNvCxnSpPr>
          <p:nvPr/>
        </p:nvCxnSpPr>
        <p:spPr>
          <a:xfrm flipH="1" flipV="1">
            <a:off x="3884597" y="3147065"/>
            <a:ext cx="769324" cy="7022"/>
          </a:xfrm>
          <a:prstGeom prst="straightConnector1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59" name="Connector: Elbow 213">
            <a:extLst>
              <a:ext uri="{FF2B5EF4-FFF2-40B4-BE49-F238E27FC236}">
                <a16:creationId xmlns:a16="http://schemas.microsoft.com/office/drawing/2014/main" id="{25C66D20-B908-2B19-D49B-C0EACA154CAA}"/>
              </a:ext>
            </a:extLst>
          </p:cNvPr>
          <p:cNvCxnSpPr>
            <a:cxnSpLocks/>
            <a:stCxn id="169" idx="3"/>
            <a:endCxn id="157" idx="3"/>
          </p:cNvCxnSpPr>
          <p:nvPr/>
        </p:nvCxnSpPr>
        <p:spPr>
          <a:xfrm rot="5400000">
            <a:off x="6962518" y="2199500"/>
            <a:ext cx="243026" cy="1666149"/>
          </a:xfrm>
          <a:prstGeom prst="bentConnector2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64" name="Connector: Elbow 213">
            <a:extLst>
              <a:ext uri="{FF2B5EF4-FFF2-40B4-BE49-F238E27FC236}">
                <a16:creationId xmlns:a16="http://schemas.microsoft.com/office/drawing/2014/main" id="{D19BDE9D-5035-E4F7-2C08-CAF8A23352E9}"/>
              </a:ext>
            </a:extLst>
          </p:cNvPr>
          <p:cNvCxnSpPr>
            <a:cxnSpLocks/>
            <a:stCxn id="174" idx="4"/>
            <a:endCxn id="178" idx="1"/>
          </p:cNvCxnSpPr>
          <p:nvPr/>
        </p:nvCxnSpPr>
        <p:spPr>
          <a:xfrm>
            <a:off x="5408953" y="2448795"/>
            <a:ext cx="927576" cy="602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47" name="Oval 1046">
            <a:extLst>
              <a:ext uri="{FF2B5EF4-FFF2-40B4-BE49-F238E27FC236}">
                <a16:creationId xmlns:a16="http://schemas.microsoft.com/office/drawing/2014/main" id="{7D090327-5535-1AA6-F5E0-AD71EFE40D40}"/>
              </a:ext>
            </a:extLst>
          </p:cNvPr>
          <p:cNvSpPr/>
          <p:nvPr/>
        </p:nvSpPr>
        <p:spPr>
          <a:xfrm>
            <a:off x="9783770" y="2673047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2</a:t>
            </a:r>
          </a:p>
        </p:txBody>
      </p:sp>
      <p:cxnSp>
        <p:nvCxnSpPr>
          <p:cNvPr id="1062" name="Connector: Elbow 213">
            <a:extLst>
              <a:ext uri="{FF2B5EF4-FFF2-40B4-BE49-F238E27FC236}">
                <a16:creationId xmlns:a16="http://schemas.microsoft.com/office/drawing/2014/main" id="{001885C9-2961-A255-1594-41D70BB39C5A}"/>
              </a:ext>
            </a:extLst>
          </p:cNvPr>
          <p:cNvCxnSpPr>
            <a:cxnSpLocks/>
            <a:stCxn id="17" idx="2"/>
            <a:endCxn id="30" idx="1"/>
          </p:cNvCxnSpPr>
          <p:nvPr/>
        </p:nvCxnSpPr>
        <p:spPr>
          <a:xfrm rot="16200000" flipH="1">
            <a:off x="1930371" y="4154734"/>
            <a:ext cx="399058" cy="1811107"/>
          </a:xfrm>
          <a:prstGeom prst="bentConnector2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1067" name="Picture 2" descr="Json-datei - Kostenlose schnittstelle Icons">
            <a:extLst>
              <a:ext uri="{FF2B5EF4-FFF2-40B4-BE49-F238E27FC236}">
                <a16:creationId xmlns:a16="http://schemas.microsoft.com/office/drawing/2014/main" id="{66A9DFCA-5318-3F90-99B2-9E15A409CC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0679" y="3392285"/>
            <a:ext cx="230744" cy="230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8" name="Picture 12">
            <a:extLst>
              <a:ext uri="{FF2B5EF4-FFF2-40B4-BE49-F238E27FC236}">
                <a16:creationId xmlns:a16="http://schemas.microsoft.com/office/drawing/2014/main" id="{6F4410B5-67F6-6AAD-42D5-EECC3D05BD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62416" y="3384893"/>
            <a:ext cx="245529" cy="245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9" name="TextBox 1068">
            <a:extLst>
              <a:ext uri="{FF2B5EF4-FFF2-40B4-BE49-F238E27FC236}">
                <a16:creationId xmlns:a16="http://schemas.microsoft.com/office/drawing/2014/main" id="{E75589B3-A99D-EFB4-3652-0078413D9BCD}"/>
              </a:ext>
            </a:extLst>
          </p:cNvPr>
          <p:cNvSpPr txBox="1"/>
          <p:nvPr/>
        </p:nvSpPr>
        <p:spPr>
          <a:xfrm>
            <a:off x="5788493" y="3591017"/>
            <a:ext cx="13356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cument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ata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and </a:t>
            </a: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rchive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ocument</a:t>
            </a: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60912594-25DD-E9E1-2BAC-49FCF8D05847}"/>
              </a:ext>
            </a:extLst>
          </p:cNvPr>
          <p:cNvCxnSpPr>
            <a:cxnSpLocks/>
          </p:cNvCxnSpPr>
          <p:nvPr/>
        </p:nvCxnSpPr>
        <p:spPr>
          <a:xfrm>
            <a:off x="4993817" y="3345919"/>
            <a:ext cx="289" cy="1056016"/>
          </a:xfrm>
          <a:prstGeom prst="straightConnector1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E611262-9E1C-8AD8-C43A-ABEEF7A5E5F9}"/>
              </a:ext>
            </a:extLst>
          </p:cNvPr>
          <p:cNvCxnSpPr>
            <a:cxnSpLocks/>
            <a:stCxn id="104" idx="0"/>
            <a:endCxn id="166" idx="2"/>
          </p:cNvCxnSpPr>
          <p:nvPr/>
        </p:nvCxnSpPr>
        <p:spPr>
          <a:xfrm flipV="1">
            <a:off x="3364130" y="2641085"/>
            <a:ext cx="4660" cy="391421"/>
          </a:xfrm>
          <a:prstGeom prst="straightConnector1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6" name="Connector: Elbow 213">
            <a:extLst>
              <a:ext uri="{FF2B5EF4-FFF2-40B4-BE49-F238E27FC236}">
                <a16:creationId xmlns:a16="http://schemas.microsoft.com/office/drawing/2014/main" id="{1248CDB3-5B10-FFE8-CBE4-68218B17F052}"/>
              </a:ext>
            </a:extLst>
          </p:cNvPr>
          <p:cNvCxnSpPr>
            <a:cxnSpLocks/>
            <a:stCxn id="166" idx="3"/>
            <a:endCxn id="174" idx="2"/>
          </p:cNvCxnSpPr>
          <p:nvPr/>
        </p:nvCxnSpPr>
        <p:spPr>
          <a:xfrm>
            <a:off x="3884597" y="2448420"/>
            <a:ext cx="541166" cy="375"/>
          </a:xfrm>
          <a:prstGeom prst="bentConnector3">
            <a:avLst>
              <a:gd name="adj1" fmla="val 50000"/>
            </a:avLst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57" name="Rectangle 156">
            <a:extLst>
              <a:ext uri="{FF2B5EF4-FFF2-40B4-BE49-F238E27FC236}">
                <a16:creationId xmlns:a16="http://schemas.microsoft.com/office/drawing/2014/main" id="{ADB41AE5-29E6-4B82-8464-0577F77C8659}"/>
              </a:ext>
            </a:extLst>
          </p:cNvPr>
          <p:cNvSpPr/>
          <p:nvPr/>
        </p:nvSpPr>
        <p:spPr>
          <a:xfrm>
            <a:off x="4653921" y="2961121"/>
            <a:ext cx="1597035" cy="3859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Hypatos SAP Connector</a:t>
            </a:r>
            <a:r>
              <a:rPr kumimoji="0" lang="en-GB" sz="8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3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42B49352-477B-D81C-1C70-608DEDB5EEBD}"/>
              </a:ext>
            </a:extLst>
          </p:cNvPr>
          <p:cNvCxnSpPr>
            <a:cxnSpLocks/>
          </p:cNvCxnSpPr>
          <p:nvPr/>
        </p:nvCxnSpPr>
        <p:spPr>
          <a:xfrm flipV="1">
            <a:off x="5942472" y="3353384"/>
            <a:ext cx="289" cy="1056016"/>
          </a:xfrm>
          <a:prstGeom prst="straightConnector1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53" name="Oval 152">
            <a:extLst>
              <a:ext uri="{FF2B5EF4-FFF2-40B4-BE49-F238E27FC236}">
                <a16:creationId xmlns:a16="http://schemas.microsoft.com/office/drawing/2014/main" id="{C8033B35-481D-479E-8682-513DA196DDA1}"/>
              </a:ext>
            </a:extLst>
          </p:cNvPr>
          <p:cNvSpPr/>
          <p:nvPr/>
        </p:nvSpPr>
        <p:spPr>
          <a:xfrm>
            <a:off x="6618315" y="2949234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3BEA7A11-CFF4-6175-63B7-59D191868E73}"/>
              </a:ext>
            </a:extLst>
          </p:cNvPr>
          <p:cNvSpPr/>
          <p:nvPr/>
        </p:nvSpPr>
        <p:spPr>
          <a:xfrm>
            <a:off x="4791212" y="3478841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6D97B6D9-7DE7-40DE-8F38-ADBDF2E55293}"/>
              </a:ext>
            </a:extLst>
          </p:cNvPr>
          <p:cNvSpPr/>
          <p:nvPr/>
        </p:nvSpPr>
        <p:spPr>
          <a:xfrm>
            <a:off x="1673260" y="4593837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BCD4966D-8BB4-6D0E-52B8-1CC506187865}"/>
              </a:ext>
            </a:extLst>
          </p:cNvPr>
          <p:cNvSpPr/>
          <p:nvPr/>
        </p:nvSpPr>
        <p:spPr>
          <a:xfrm>
            <a:off x="3738919" y="2167002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7</a:t>
            </a:r>
          </a:p>
        </p:txBody>
      </p:sp>
      <p:cxnSp>
        <p:nvCxnSpPr>
          <p:cNvPr id="52" name="Connector: Elbow 213">
            <a:extLst>
              <a:ext uri="{FF2B5EF4-FFF2-40B4-BE49-F238E27FC236}">
                <a16:creationId xmlns:a16="http://schemas.microsoft.com/office/drawing/2014/main" id="{EB73581C-4A3A-0E32-82B9-891E00CEE71E}"/>
              </a:ext>
            </a:extLst>
          </p:cNvPr>
          <p:cNvCxnSpPr>
            <a:cxnSpLocks/>
            <a:stCxn id="178" idx="2"/>
            <a:endCxn id="157" idx="3"/>
          </p:cNvCxnSpPr>
          <p:nvPr/>
        </p:nvCxnSpPr>
        <p:spPr>
          <a:xfrm rot="5400000">
            <a:off x="6134333" y="2758955"/>
            <a:ext cx="511755" cy="278508"/>
          </a:xfrm>
          <a:prstGeom prst="bentConnector2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64" name="Picture 63">
            <a:extLst>
              <a:ext uri="{FF2B5EF4-FFF2-40B4-BE49-F238E27FC236}">
                <a16:creationId xmlns:a16="http://schemas.microsoft.com/office/drawing/2014/main" id="{F49BEA32-4B1C-EF53-8675-F197082C59DC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11592"/>
          <a:stretch/>
        </p:blipFill>
        <p:spPr>
          <a:xfrm>
            <a:off x="3084967" y="4719591"/>
            <a:ext cx="754062" cy="2510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D5F1C8E-7BBD-4545-78EF-670240EE499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76219" y="1635006"/>
            <a:ext cx="735171" cy="611811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95B6F6FE-CE9E-C9DB-543C-964C0F811D46}"/>
              </a:ext>
            </a:extLst>
          </p:cNvPr>
          <p:cNvSpPr/>
          <p:nvPr/>
        </p:nvSpPr>
        <p:spPr>
          <a:xfrm>
            <a:off x="9779061" y="5473477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8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9D1314-7828-DAF8-10A5-500DBFA04D56}"/>
              </a:ext>
            </a:extLst>
          </p:cNvPr>
          <p:cNvSpPr/>
          <p:nvPr/>
        </p:nvSpPr>
        <p:spPr>
          <a:xfrm>
            <a:off x="8666432" y="3031516"/>
            <a:ext cx="953596" cy="946770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9" name="Cylinder 173">
            <a:extLst>
              <a:ext uri="{FF2B5EF4-FFF2-40B4-BE49-F238E27FC236}">
                <a16:creationId xmlns:a16="http://schemas.microsoft.com/office/drawing/2014/main" id="{82C1F4C2-B53E-1C3B-5EA7-9A42FC652DB2}"/>
              </a:ext>
            </a:extLst>
          </p:cNvPr>
          <p:cNvSpPr/>
          <p:nvPr/>
        </p:nvSpPr>
        <p:spPr>
          <a:xfrm>
            <a:off x="8696886" y="3273755"/>
            <a:ext cx="892687" cy="453667"/>
          </a:xfrm>
          <a:prstGeom prst="can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atrix</a:t>
            </a:r>
          </a:p>
        </p:txBody>
      </p:sp>
      <p:cxnSp>
        <p:nvCxnSpPr>
          <p:cNvPr id="18" name="Connector: Elbow 213">
            <a:extLst>
              <a:ext uri="{FF2B5EF4-FFF2-40B4-BE49-F238E27FC236}">
                <a16:creationId xmlns:a16="http://schemas.microsoft.com/office/drawing/2014/main" id="{9A58BAB4-E6DD-FE9A-EAF1-A99922838813}"/>
              </a:ext>
            </a:extLst>
          </p:cNvPr>
          <p:cNvCxnSpPr>
            <a:cxnSpLocks/>
            <a:stCxn id="30" idx="3"/>
            <a:endCxn id="5" idx="2"/>
          </p:cNvCxnSpPr>
          <p:nvPr/>
        </p:nvCxnSpPr>
        <p:spPr>
          <a:xfrm flipV="1">
            <a:off x="7084062" y="3978286"/>
            <a:ext cx="2059168" cy="1281531"/>
          </a:xfrm>
          <a:prstGeom prst="bentConnector2">
            <a:avLst/>
          </a:prstGeom>
          <a:ln w="9525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1B66E5E3-338F-C7E9-D5F2-7DE1D226A1AA}"/>
              </a:ext>
            </a:extLst>
          </p:cNvPr>
          <p:cNvSpPr/>
          <p:nvPr/>
        </p:nvSpPr>
        <p:spPr>
          <a:xfrm>
            <a:off x="8550444" y="5187393"/>
            <a:ext cx="157293" cy="144188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707714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0_DSqHkBr2mNgCv6L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3fje84Q0.aqpjjgD29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MgCkhL_1aohUj4AZUQ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7Zs9wgTmuHMud2grxE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FpwDNW5VGZR5eg1Sh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D5oED9uCoTyTo.mEP0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QRUD58LG0UqJMVPppo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qvHDhZpii7paHSq4mO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_QQF2sDWetjV3VYKO1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Sckl3y4fYvv267t6Gk.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jsG7h_ilydvIC2PaAd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bzO4fdBynBwHM4rpq2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wGGiMrZ3RPeCQ0Ym2M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bnrdqaEr.dTj8VJgnr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FyohGpmLQuaECzaF7u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EjR0qIh742CJ3EGHPa6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Gs1pgC6FdT.s5.yt1Q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tH_jRbwNhjo2uhLhM6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5n5QXyvOoAHbmTQgb52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YFDeUsgRu0o1Go9GIT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bIoylDMxHC_sBfZIqh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SKXu7vSVkjKDmAfR7V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aP67Jso98fwBJT13K5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Sx0v6mlEmTTi5sO9Plb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W51M3GC93qS_nHklUYc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MHXyneu70rP1RXJV6MM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ovVipbtQeMnp7r4XudZ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vtWoWl10DBBuqQtuVv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QyrROOBa83C.aG3JucB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9k.A.pYSf1eDFMXpUm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d_L5kzKh1XPNbMG7Bv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HBVSO06eIEkO2nXgRH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OjhqwyjY92amAq.lmp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qaWXCmrdF6wfk04hPM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2axu9R7Gf.rJ0rq5cN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sKj4f0raK2YKqwjZpQZ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2Tt5ngkSV.jegC8fs_7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w2baV3.dWnMNIoTUYo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2Ins_p5kJTBUl5ToOFi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ThAmmRa93FiL1V2s1r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xklb5t6guHIodD.qPl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yY1bRVD0Xp8qzMGDT9V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O61Fi38Rb1XgUQf_JK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wi8ovV.lbXfwWuDTwp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UgVa0ZRIgoNpP0VnfO6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hAY8_HikXqVVHalK4R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mB8mv6sAJnQk6Ha1zNz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mLDg2lKoMFZ4pZ6Aq6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vLINtmkCxZJYWum3ig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k7gKSDkOz4eH7J.ZdO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q64lz.tWHbdiOdZxgWV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QQ4VJbkOEPVGr.8bYLs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fbwnNRVyvkCIW9EdEL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8xHADRT8eb8h2l2cz7a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v3m3PeV8ZMbk.9pDxBX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nZPXOIHtp4WNmTcZ2nJ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el9ybyF7EHK9tPl78V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.VlHQv7e8IBxRanhry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zGHvRA.JfoaXeY_EN5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jM6aVkQ0qN6DpaAsBC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CzlXRCgJlqdb44_WWr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BpCVYlIHAQVC5TNI61K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9jnMl3xp9GY8LMn4S4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etIo3NX321nI_1qPC8T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g13sAcqjLeACm6FJIc8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6GhZ4lUXJKMfD.a3WY7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ltgvQeHKNAfdjFHPSDT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C64qnc9tDdcLuof7dt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1D15BQ2eAH9T.QRc.Y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uFd1teOHEZLNrsJ.2j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RXJqP2Cao1cU7oy1Pxk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vEZuKTTjTkrL1TMot0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FJuv_sZKuQId2IqxVo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6LdR1bInszi28ZuNLwj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SrCkcbDGyyvNS7S3oW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IUPfJaTBTeTQAjAZx10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uYxZ3cgcO0TNKdSLNTr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t5rF1JmZQofxNPPyVv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497D76AF6F2DA4CA5AFC0385F3642EE" ma:contentTypeVersion="8" ma:contentTypeDescription="Create a new document." ma:contentTypeScope="" ma:versionID="3341288d414c4b7c9a2a752cb7791270">
  <xsd:schema xmlns:xsd="http://www.w3.org/2001/XMLSchema" xmlns:xs="http://www.w3.org/2001/XMLSchema" xmlns:p="http://schemas.microsoft.com/office/2006/metadata/properties" xmlns:ns2="997c7c9d-4912-4fbf-81b0-9eda5183b49e" targetNamespace="http://schemas.microsoft.com/office/2006/metadata/properties" ma:root="true" ma:fieldsID="e7d67b7538c4e056fd9581e5b5c01322" ns2:_="">
    <xsd:import namespace="997c7c9d-4912-4fbf-81b0-9eda5183b4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7c7c9d-4912-4fbf-81b0-9eda5183b4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D2F3AC-88EC-420A-9944-99471C836986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  <ds:schemaRef ds:uri="997c7c9d-4912-4fbf-81b0-9eda5183b49e"/>
    <ds:schemaRef ds:uri="http://purl.org/dc/elements/1.1/"/>
    <ds:schemaRef ds:uri="http://purl.org/dc/dcmitype/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97C83E4-C774-4FCD-B5F0-EBC06B89C7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7c7c9d-4912-4fbf-81b0-9eda5183b4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61</TotalTime>
  <Words>807</Words>
  <Application>Microsoft Macintosh PowerPoint</Application>
  <PresentationFormat>Widescreen</PresentationFormat>
  <Paragraphs>252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Lato</vt:lpstr>
      <vt:lpstr>Lato Semibold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xSuite – Hypatos Solution Design</vt:lpstr>
      <vt:lpstr>PowerPoint Presentation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30</cp:revision>
  <dcterms:created xsi:type="dcterms:W3CDTF">2023-03-02T14:07:47Z</dcterms:created>
  <dcterms:modified xsi:type="dcterms:W3CDTF">2024-09-12T11:1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497D76AF6F2DA4CA5AFC0385F3642EE</vt:lpwstr>
  </property>
  <property fmtid="{D5CDD505-2E9C-101B-9397-08002B2CF9AE}" pid="3" name="MediaServiceImageTags">
    <vt:lpwstr/>
  </property>
</Properties>
</file>